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8" r:id="rId4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737"/>
  </p:normalViewPr>
  <p:slideViewPr>
    <p:cSldViewPr snapToGrid="0">
      <p:cViewPr varScale="1">
        <p:scale>
          <a:sx n="101" d="100"/>
          <a:sy n="101" d="100"/>
        </p:scale>
        <p:origin x="90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E5B0E3-0CAC-85A8-1D99-312C5985A6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56E456-BC29-4AB7-10A2-4D69CC6956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5D53B8-4835-CD8E-B548-21A3EF819A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129F6-AE93-C94E-A061-5A07A1EE1C50}" type="datetimeFigureOut">
              <a:rPr lang="en-GB" smtClean="0"/>
              <a:t>30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5AD16D-8543-83FF-75C2-D0CB395B8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B7C81B-5CF9-9F93-75C7-130774130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44F4C-BE35-C24E-B880-5028A1EFB7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88133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9E71D4-0F59-E725-7C01-90837D71F6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F0D3842-03B2-7D06-1A0A-9D551F91E7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166C02-1DBE-45C8-25E7-3FF1B53B96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129F6-AE93-C94E-A061-5A07A1EE1C50}" type="datetimeFigureOut">
              <a:rPr lang="en-GB" smtClean="0"/>
              <a:t>30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B29E17-8832-7CEC-F4CC-E156C3C4F6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11FF7D-CBEF-38F2-EE42-A2A4CEAD43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44F4C-BE35-C24E-B880-5028A1EFB7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02651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53E06E7-801F-D1AA-CF2F-71F428D2CEC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9CC9C1-DD66-86E9-B1C5-D550C12B4B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55147D-2236-C1AD-367F-A5D2A70EC6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129F6-AE93-C94E-A061-5A07A1EE1C50}" type="datetimeFigureOut">
              <a:rPr lang="en-GB" smtClean="0"/>
              <a:t>30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90AA21-9C4D-2FFE-9FF7-2A2C096518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F88967-01EB-E49A-0987-C0019CED8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44F4C-BE35-C24E-B880-5028A1EFB7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61223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7C4EDD-D23D-6045-B5AC-2CFB40A66A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DAF441-9AB4-7824-3823-A5BE16C9F4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A67175-53BC-2C1D-64FB-D8D38120F2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129F6-AE93-C94E-A061-5A07A1EE1C50}" type="datetimeFigureOut">
              <a:rPr lang="en-GB" smtClean="0"/>
              <a:t>30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8786CE-51D6-D4B2-1BF4-DC88F4772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59903D-34F1-AE6A-5482-E8CC4DC9A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44F4C-BE35-C24E-B880-5028A1EFB7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71564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E7FB8-D76A-2374-E604-6D58D6869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680D1D-BA85-1F4D-6C02-98B31C9CFB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9C4D9F-CFC5-5733-270B-534453D7E3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129F6-AE93-C94E-A061-5A07A1EE1C50}" type="datetimeFigureOut">
              <a:rPr lang="en-GB" smtClean="0"/>
              <a:t>30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24E44A-D899-7613-8643-0756B47EC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746961-DF61-C1DD-A200-65BCCB166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44F4C-BE35-C24E-B880-5028A1EFB7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84323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8A95EC-27DC-09C8-DDD5-F2A2BB98D9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304020-59A8-3B4A-EC94-77D755D715E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B11F2F-6427-DC33-09AA-8F6F581829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C4072A-76EF-18FB-237F-FC3B637451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129F6-AE93-C94E-A061-5A07A1EE1C50}" type="datetimeFigureOut">
              <a:rPr lang="en-GB" smtClean="0"/>
              <a:t>30/10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F5EEC7-AEDF-38B1-460F-317828FF6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243D82-414F-60E1-C86F-566F5577F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44F4C-BE35-C24E-B880-5028A1EFB7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98252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115AE-8D55-3CAF-8EE6-245793523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65E85C-B1A8-6AB7-F962-35E2AFB7B8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4FDBFB-5A39-4E11-C56F-9B0AED9340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30C125-D027-364B-5388-48B2BBAE052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CCEFC7F-6CD4-4E45-F813-E6C3B0EB1C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68616F7-0A6B-B0A4-9A6B-A549B7E98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129F6-AE93-C94E-A061-5A07A1EE1C50}" type="datetimeFigureOut">
              <a:rPr lang="en-GB" smtClean="0"/>
              <a:t>30/10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E145B75-7100-21FD-968E-D7D0664854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BE6BC7-1341-E3E9-17D7-C5F508BACA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44F4C-BE35-C24E-B880-5028A1EFB7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214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FD1E50-611C-9A7B-7F24-0E1CFE9076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EA0384-830F-B004-8330-2B559C698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129F6-AE93-C94E-A061-5A07A1EE1C50}" type="datetimeFigureOut">
              <a:rPr lang="en-GB" smtClean="0"/>
              <a:t>30/10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BBA734-822D-B58D-B34E-CE3C7F7BE5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D9B082-0B8F-A6E4-9798-ACD9F52626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44F4C-BE35-C24E-B880-5028A1EFB7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05577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397B43-3956-B5DE-60B2-69D7AA7AE5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129F6-AE93-C94E-A061-5A07A1EE1C50}" type="datetimeFigureOut">
              <a:rPr lang="en-GB" smtClean="0"/>
              <a:t>30/10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87114B-B19E-C389-27D9-1208988A41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F489E6-1393-A160-64A5-FF55811F11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44F4C-BE35-C24E-B880-5028A1EFB7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70722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5FA961-2DE9-B2A8-DD9C-7274B5A66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3BBF88-4C87-B5CA-F015-A0E39976EE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04307D-AB67-F41A-A7F3-CF1568B6F6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07C3BB-6782-4FA8-9F67-2DD9A0ACE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129F6-AE93-C94E-A061-5A07A1EE1C50}" type="datetimeFigureOut">
              <a:rPr lang="en-GB" smtClean="0"/>
              <a:t>30/10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5CF4C0-A7EA-A1C8-FBB8-D535CB0D8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47CAC4-7E5F-F9DC-E502-85637E5802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44F4C-BE35-C24E-B880-5028A1EFB7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34519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34828-9EEC-E0A8-7F46-D423A50B3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011C8B-3313-67AB-5AF6-44A0EE8AF7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8A1F2D-26D0-2AB9-EE8A-FF1A6B3B04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A727157-29FF-7E42-7554-D2384FB297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129F6-AE93-C94E-A061-5A07A1EE1C50}" type="datetimeFigureOut">
              <a:rPr lang="en-GB" smtClean="0"/>
              <a:t>30/10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65A8DE-A431-41E5-FBFB-C4C8D2091E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609784-0E0B-539D-7189-C1A4D94BD1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44F4C-BE35-C24E-B880-5028A1EFB7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87999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A94C539-C3EA-F8EA-2ECA-7A88D7585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397788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FA5AF15-72A9-B774-B285-8778141E69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A697AE-77ED-A541-1179-19AD436F2D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618E84-A318-C1E6-88AA-51043230A4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18129F6-AE93-C94E-A061-5A07A1EE1C50}" type="datetimeFigureOut">
              <a:rPr lang="en-GB" smtClean="0"/>
              <a:t>30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1B7D5E-3C67-8787-05CF-7408A07CF5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C43E1A-1595-6370-6449-4F34CC0B43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1A44F4C-BE35-C24E-B880-5028A1EFB7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620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D02118-4716-7846-5BE1-E979A563C2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03247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92DB8B8-70DF-42F7-8C62-47C8F12E53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his is the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07AF7B-293A-2471-4E00-2E1451E3F15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Second </a:t>
            </a:r>
            <a:r>
              <a:rPr lang="en-GB" dirty="0" err="1"/>
              <a:t>textblock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176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CE85068-82A7-045C-3197-3D87DEF636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4998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81EFE-D6F1-01A8-AF4D-516442FA1A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his is the title of the second p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380FA3-BAF6-CE37-AC68-4AB4D28F46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3708400" cy="4351338"/>
          </a:xfrm>
        </p:spPr>
        <p:txBody>
          <a:bodyPr/>
          <a:lstStyle/>
          <a:p>
            <a:r>
              <a:rPr lang="en-GB" dirty="0"/>
              <a:t>Random text as a bullet point list</a:t>
            </a:r>
          </a:p>
          <a:p>
            <a:r>
              <a:rPr lang="en-GB" dirty="0"/>
              <a:t>Second </a:t>
            </a:r>
            <a:r>
              <a:rPr lang="en-GB" dirty="0" err="1"/>
              <a:t>bulletpoint</a:t>
            </a:r>
            <a:r>
              <a:rPr lang="en-GB" dirty="0"/>
              <a:t> entry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01D9173-7AEA-E661-00F4-37D83DA083CC}"/>
              </a:ext>
            </a:extLst>
          </p:cNvPr>
          <p:cNvSpPr txBox="1">
            <a:spLocks/>
          </p:cNvSpPr>
          <p:nvPr/>
        </p:nvSpPr>
        <p:spPr>
          <a:xfrm>
            <a:off x="5321302" y="1690688"/>
            <a:ext cx="37084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dirty="0"/>
              <a:t>Another text in another field on the second page</a:t>
            </a:r>
          </a:p>
        </p:txBody>
      </p:sp>
    </p:spTree>
    <p:extLst>
      <p:ext uri="{BB962C8B-B14F-4D97-AF65-F5344CB8AC3E}">
        <p14:creationId xmlns:p14="http://schemas.microsoft.com/office/powerpoint/2010/main" val="16625965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320BCE-9652-4F00-B90E-720B5B2BF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CE7C85-7DEE-9306-C67A-0615057189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Small and </a:t>
            </a:r>
            <a:r>
              <a:rPr lang="en-GB" b="1" dirty="0"/>
              <a:t>big</a:t>
            </a:r>
            <a:r>
              <a:rPr lang="en-GB" dirty="0"/>
              <a:t> small </a:t>
            </a:r>
            <a:r>
              <a:rPr lang="en-GB" dirty="0">
                <a:latin typeface="Verdana Pro" panose="020B0604030504040204" pitchFamily="34" charset="0"/>
              </a:rPr>
              <a:t>and </a:t>
            </a:r>
            <a:r>
              <a:rPr lang="en-GB" b="1" dirty="0">
                <a:latin typeface="Verdana Pro" panose="020B0604030504040204" pitchFamily="34" charset="0"/>
              </a:rPr>
              <a:t>big again </a:t>
            </a:r>
            <a:r>
              <a:rPr lang="en-GB" dirty="0"/>
              <a:t>for sure</a:t>
            </a:r>
          </a:p>
        </p:txBody>
      </p:sp>
    </p:spTree>
    <p:extLst>
      <p:ext uri="{BB962C8B-B14F-4D97-AF65-F5344CB8AC3E}">
        <p14:creationId xmlns:p14="http://schemas.microsoft.com/office/powerpoint/2010/main" val="1855532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2</TotalTime>
  <Words>43</Words>
  <Application>Microsoft Macintosh PowerPoint</Application>
  <PresentationFormat>Widescreen</PresentationFormat>
  <Paragraphs>7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ptos</vt:lpstr>
      <vt:lpstr>Aptos Display</vt:lpstr>
      <vt:lpstr>Arial</vt:lpstr>
      <vt:lpstr>Verdana Pro</vt:lpstr>
      <vt:lpstr>Office Theme</vt:lpstr>
      <vt:lpstr>think-cell Slide</vt:lpstr>
      <vt:lpstr>This is the presentation title</vt:lpstr>
      <vt:lpstr>This is the title of the second pag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n Werth</dc:creator>
  <cp:lastModifiedBy>Jan Werth</cp:lastModifiedBy>
  <cp:revision>6</cp:revision>
  <dcterms:created xsi:type="dcterms:W3CDTF">2024-10-30T14:38:33Z</dcterms:created>
  <dcterms:modified xsi:type="dcterms:W3CDTF">2024-10-31T09:21:00Z</dcterms:modified>
</cp:coreProperties>
</file>